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85" r:id="rId11"/>
    <p:sldId id="286" r:id="rId12"/>
    <p:sldId id="289" r:id="rId13"/>
    <p:sldId id="271" r:id="rId14"/>
    <p:sldId id="275" r:id="rId15"/>
    <p:sldId id="280" r:id="rId16"/>
    <p:sldId id="277" r:id="rId17"/>
    <p:sldId id="279" r:id="rId18"/>
  </p:sldIdLst>
  <p:sldSz cx="7561263" cy="5329238"/>
  <p:notesSz cx="6797675" cy="9982200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85"/>
            <p14:sldId id="286"/>
            <p14:sldId id="289"/>
            <p14:sldId id="271"/>
            <p14:sldId id="275"/>
            <p14:sldId id="280"/>
            <p14:sldId id="277"/>
            <p14:sldId id="27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2A00"/>
    <a:srgbClr val="37C800"/>
    <a:srgbClr val="649B00"/>
    <a:srgbClr val="00FF00"/>
    <a:srgbClr val="2AD5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2" d="100"/>
          <a:sy n="172" d="100"/>
        </p:scale>
        <p:origin x="-864" y="-96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158" y="-64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eu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778</c:v>
                </c:pt>
                <c:pt idx="1">
                  <c:v>3158</c:v>
                </c:pt>
                <c:pt idx="2">
                  <c:v>4538</c:v>
                </c:pt>
                <c:pt idx="3">
                  <c:v>5918</c:v>
                </c:pt>
                <c:pt idx="4">
                  <c:v>72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lt</c:v>
                </c:pt>
              </c:strCache>
            </c:strRef>
          </c:tx>
          <c:spPr>
            <a:ln>
              <a:solidFill>
                <a:srgbClr val="D52A00"/>
              </a:solidFill>
            </a:ln>
          </c:spPr>
          <c:marker>
            <c:symbol val="none"/>
          </c:marker>
          <c:dPt>
            <c:idx val="4"/>
            <c:bubble3D val="0"/>
          </c:dPt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0</c:v>
                </c:pt>
                <c:pt idx="1">
                  <c:v>2280</c:v>
                </c:pt>
                <c:pt idx="2">
                  <c:v>4560</c:v>
                </c:pt>
                <c:pt idx="3">
                  <c:v>6840</c:v>
                </c:pt>
                <c:pt idx="4">
                  <c:v>91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199360"/>
        <c:axId val="217201280"/>
      </c:lineChart>
      <c:catAx>
        <c:axId val="2171993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Vorgang</a:t>
                </a:r>
                <a:endParaRPr lang="de-DE" dirty="0"/>
              </a:p>
            </c:rich>
          </c:tx>
          <c:layout/>
          <c:overlay val="0"/>
        </c:title>
        <c:numFmt formatCode="@" sourceLinked="0"/>
        <c:majorTickMark val="out"/>
        <c:minorTickMark val="none"/>
        <c:tickLblPos val="nextTo"/>
        <c:crossAx val="217201280"/>
        <c:crosses val="autoZero"/>
        <c:auto val="1"/>
        <c:lblAlgn val="ctr"/>
        <c:lblOffset val="100"/>
        <c:noMultiLvlLbl val="0"/>
      </c:catAx>
      <c:valAx>
        <c:axId val="217201280"/>
        <c:scaling>
          <c:orientation val="minMax"/>
          <c:max val="1000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Kosten (in</a:t>
                </a:r>
                <a:r>
                  <a:rPr lang="de-DE" baseline="0" dirty="0" smtClean="0"/>
                  <a:t> Euro)</a:t>
                </a:r>
                <a:endParaRPr lang="de-DE" dirty="0"/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accent2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7199360"/>
        <c:crosses val="autoZero"/>
        <c:crossBetween val="between"/>
        <c:majorUnit val="1000"/>
      </c:valAx>
      <c:dTable>
        <c:showHorzBorder val="1"/>
        <c:showVertBorder val="1"/>
        <c:showOutline val="1"/>
        <c:showKeys val="1"/>
        <c:spPr>
          <a:noFill/>
        </c:spPr>
      </c:dTable>
    </c:plotArea>
    <c:legend>
      <c:legendPos val="r"/>
      <c:layout>
        <c:manualLayout>
          <c:xMode val="edge"/>
          <c:yMode val="edge"/>
          <c:x val="0.84002351557907118"/>
          <c:y val="0.42516475311018836"/>
          <c:w val="0.14116402116402116"/>
          <c:h val="0.16927007575260683"/>
        </c:manualLayout>
      </c:layout>
      <c:overlay val="0"/>
      <c:spPr>
        <a:solidFill>
          <a:schemeClr val="bg1"/>
        </a:solidFill>
        <a:ln>
          <a:solidFill>
            <a:schemeClr val="bg1"/>
          </a:solidFill>
        </a:ln>
      </c:sp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6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6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26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432" y="144338"/>
            <a:ext cx="1800000" cy="67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56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7" name="Picture 3" descr="U:\Projektarbeit\Präsentation\präsentation_img\Hotlin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26" y="1870476"/>
            <a:ext cx="707678" cy="70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1747" idx="1"/>
          </p:cNvCxnSpPr>
          <p:nvPr/>
        </p:nvCxnSpPr>
        <p:spPr>
          <a:xfrm>
            <a:off x="1516465" y="1743762"/>
            <a:ext cx="826361" cy="48055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1588473" y="215333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1438797" y="1328185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pic>
        <p:nvPicPr>
          <p:cNvPr id="31749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020" y="3956556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U:\Projektarbeit\Präsentation\präsentation_img\Orga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112" y="1340737"/>
            <a:ext cx="757907" cy="75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Gekrümmte Verbindung 25"/>
          <p:cNvCxnSpPr>
            <a:stCxn id="31747" idx="3"/>
            <a:endCxn id="31750" idx="1"/>
          </p:cNvCxnSpPr>
          <p:nvPr/>
        </p:nvCxnSpPr>
        <p:spPr>
          <a:xfrm flipV="1">
            <a:off x="3050504" y="1719691"/>
            <a:ext cx="1077608" cy="50462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3361965" y="2261348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010414" y="1327853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cxnSp>
        <p:nvCxnSpPr>
          <p:cNvPr id="34" name="Gekrümmte Verbindung 33"/>
          <p:cNvCxnSpPr>
            <a:stCxn id="31750" idx="2"/>
          </p:cNvCxnSpPr>
          <p:nvPr/>
        </p:nvCxnSpPr>
        <p:spPr>
          <a:xfrm rot="5400000">
            <a:off x="4172176" y="2433534"/>
            <a:ext cx="669780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51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395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feld 38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795739" y="291994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41" name="Gekrümmte Verbindung 40"/>
          <p:cNvCxnSpPr>
            <a:stCxn id="31751" idx="2"/>
            <a:endCxn id="31749" idx="0"/>
          </p:cNvCxnSpPr>
          <p:nvPr/>
        </p:nvCxnSpPr>
        <p:spPr>
          <a:xfrm rot="5400000">
            <a:off x="4201673" y="3651161"/>
            <a:ext cx="610787" cy="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1" name="Gekrümmte Verbindung 50"/>
          <p:cNvCxnSpPr>
            <a:stCxn id="31749" idx="3"/>
            <a:endCxn id="31750" idx="3"/>
          </p:cNvCxnSpPr>
          <p:nvPr/>
        </p:nvCxnSpPr>
        <p:spPr>
          <a:xfrm flipH="1" flipV="1">
            <a:off x="4886019" y="1719691"/>
            <a:ext cx="17089" cy="2632909"/>
          </a:xfrm>
          <a:prstGeom prst="curvedConnector3">
            <a:avLst>
              <a:gd name="adj1" fmla="val -2440295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331705" y="205590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58" name="Gekrümmte Verbindung 57"/>
          <p:cNvCxnSpPr>
            <a:stCxn id="31750" idx="0"/>
            <a:endCxn id="10" idx="0"/>
          </p:cNvCxnSpPr>
          <p:nvPr/>
        </p:nvCxnSpPr>
        <p:spPr>
          <a:xfrm rot="16200000" flipV="1">
            <a:off x="2810254" y="-356076"/>
            <a:ext cx="12700" cy="3393625"/>
          </a:xfrm>
          <a:prstGeom prst="curvedConnector3">
            <a:avLst>
              <a:gd name="adj1" fmla="val 3370913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336967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20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2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310149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342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7" name="Textfeld 66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4251648850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7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32" grpId="0"/>
      <p:bldP spid="33" grpId="0"/>
      <p:bldP spid="39" grpId="0"/>
      <p:bldP spid="40" grpId="0"/>
      <p:bldP spid="44" grpId="0"/>
      <p:bldP spid="45" grpId="0"/>
      <p:bldP spid="56" grpId="0"/>
      <p:bldP spid="57" grpId="0"/>
      <p:bldP spid="62" grpId="0"/>
      <p:bldP spid="63" grpId="0"/>
      <p:bldP spid="67" grpId="0"/>
      <p:bldP spid="6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860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 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7" idx="1"/>
          </p:cNvCxnSpPr>
          <p:nvPr/>
        </p:nvCxnSpPr>
        <p:spPr>
          <a:xfrm flipV="1">
            <a:off x="1516465" y="1743761"/>
            <a:ext cx="921604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1620391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26" name="Gekrümmte Verbindung 25"/>
          <p:cNvCxnSpPr>
            <a:stCxn id="37" idx="3"/>
            <a:endCxn id="42" idx="1"/>
          </p:cNvCxnSpPr>
          <p:nvPr/>
        </p:nvCxnSpPr>
        <p:spPr>
          <a:xfrm flipV="1">
            <a:off x="3135684" y="1741257"/>
            <a:ext cx="1043778" cy="250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krümmte Verbindung 57"/>
          <p:cNvCxnSpPr>
            <a:stCxn id="42" idx="0"/>
            <a:endCxn id="10" idx="0"/>
          </p:cNvCxnSpPr>
          <p:nvPr/>
        </p:nvCxnSpPr>
        <p:spPr>
          <a:xfrm rot="16200000" flipV="1">
            <a:off x="2837004" y="-382826"/>
            <a:ext cx="9708" cy="3456833"/>
          </a:xfrm>
          <a:prstGeom prst="curvedConnector3">
            <a:avLst>
              <a:gd name="adj1" fmla="val 245475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087229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90 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13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912866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07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1620391" y="2008291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pic>
        <p:nvPicPr>
          <p:cNvPr id="37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69" y="1394953"/>
            <a:ext cx="697615" cy="69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462" y="1350445"/>
            <a:ext cx="781623" cy="78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028" y="3951011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603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feld 52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973116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9" name="Gekrümmte Verbindung 58"/>
          <p:cNvCxnSpPr>
            <a:stCxn id="52" idx="2"/>
            <a:endCxn id="50" idx="0"/>
          </p:cNvCxnSpPr>
          <p:nvPr/>
        </p:nvCxnSpPr>
        <p:spPr>
          <a:xfrm rot="16200000" flipH="1">
            <a:off x="4271052" y="3644991"/>
            <a:ext cx="605242" cy="6797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69" name="Gekrümmte Verbindung 68"/>
          <p:cNvCxnSpPr>
            <a:stCxn id="42" idx="2"/>
            <a:endCxn id="52" idx="0"/>
          </p:cNvCxnSpPr>
          <p:nvPr/>
        </p:nvCxnSpPr>
        <p:spPr>
          <a:xfrm rot="16200000" flipH="1">
            <a:off x="4252096" y="2450245"/>
            <a:ext cx="636357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/>
          <p:cNvSpPr txBox="1"/>
          <p:nvPr/>
        </p:nvSpPr>
        <p:spPr>
          <a:xfrm>
            <a:off x="3657573" y="205267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3735098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72" name="Gekrümmte Verbindung 71"/>
          <p:cNvCxnSpPr>
            <a:stCxn id="50" idx="3"/>
            <a:endCxn id="42" idx="3"/>
          </p:cNvCxnSpPr>
          <p:nvPr/>
        </p:nvCxnSpPr>
        <p:spPr>
          <a:xfrm flipH="1" flipV="1">
            <a:off x="4961085" y="1741257"/>
            <a:ext cx="12031" cy="2605798"/>
          </a:xfrm>
          <a:prstGeom prst="curvedConnector3">
            <a:avLst>
              <a:gd name="adj1" fmla="val -3051667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5427801" y="2463904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12161812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6" grpId="0"/>
      <p:bldP spid="53" grpId="0"/>
      <p:bldP spid="55" grpId="0"/>
      <p:bldP spid="60" grpId="0"/>
      <p:bldP spid="61" grpId="0"/>
      <p:bldP spid="64" grpId="0"/>
      <p:bldP spid="65" grpId="0"/>
      <p:bldP spid="70" grpId="0"/>
      <p:bldP spid="71" grpId="0"/>
      <p:bldP spid="73" grpId="0"/>
      <p:bldP spid="74" grpId="0"/>
      <p:bldP spid="75" grpId="0"/>
      <p:bldP spid="7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637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graphicFrame>
        <p:nvGraphicFramePr>
          <p:cNvPr id="17" name="Inhaltsplatzhalter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6834813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521418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</a:t>
            </a:r>
            <a:r>
              <a:rPr lang="de-DE" smtClean="0">
                <a:solidFill>
                  <a:schemeClr val="tx2"/>
                </a:solidFill>
              </a:rPr>
              <a:t>Fachbereich und der IT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9297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cherhe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9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tx2"/>
                </a:solidFill>
              </a:rPr>
              <a:t>Autentifizierung</a:t>
            </a:r>
            <a:r>
              <a:rPr lang="de-DE" dirty="0" smtClean="0">
                <a:solidFill>
                  <a:schemeClr val="tx2"/>
                </a:solidFill>
              </a:rPr>
              <a:t> durch NT-User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Verhinderung von Cross Site Scripti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dirty="0" err="1" smtClean="0"/>
              <a:t>encodeURIComponent</a:t>
            </a:r>
            <a:r>
              <a:rPr lang="de-DE" dirty="0" smtClean="0"/>
              <a:t>(Message) 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Message</a:t>
            </a:r>
            <a:r>
              <a:rPr lang="de-DE" dirty="0" smtClean="0">
                <a:solidFill>
                  <a:schemeClr val="tx2"/>
                </a:solidFill>
              </a:rPr>
              <a:t>				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&lt;h1&gt;</a:t>
            </a:r>
            <a:r>
              <a:rPr lang="de-DE" dirty="0" err="1" smtClean="0">
                <a:solidFill>
                  <a:schemeClr val="tx2"/>
                </a:solidFill>
              </a:rPr>
              <a:t>test</a:t>
            </a:r>
            <a:r>
              <a:rPr lang="de-DE" dirty="0" smtClean="0">
                <a:solidFill>
                  <a:schemeClr val="tx2"/>
                </a:solidFill>
              </a:rPr>
              <a:t>&lt;/h1&gt;			</a:t>
            </a:r>
          </a:p>
          <a:p>
            <a:r>
              <a:rPr lang="de-DE" dirty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Codiert</a:t>
            </a:r>
            <a:r>
              <a:rPr lang="de-DE" dirty="0" smtClean="0">
                <a:solidFill>
                  <a:schemeClr val="tx2"/>
                </a:solidFill>
              </a:rPr>
              <a:t>				%26amp%3Blt%3Bh1%26amp%3Bgt%3Btest%26amp%3Blt%3B%2Fh1%	26amp%3Bgt%3B</a:t>
            </a:r>
          </a:p>
          <a:p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u="sng" dirty="0" err="1" smtClean="0">
                <a:solidFill>
                  <a:schemeClr val="tx2"/>
                </a:solidFill>
              </a:rPr>
              <a:t>Validator</a:t>
            </a:r>
            <a:endParaRPr lang="de-DE" u="sng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Benutzerdefinierte Regel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1620391" y="2160563"/>
            <a:ext cx="2448272" cy="216024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764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algn="ctr"/>
            <a:r>
              <a:rPr lang="de-DE" sz="1600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953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d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5605" name="Picture 5" descr="U:\Projektarbeit\Präsentation\präsentation_img\End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82" y="1224459"/>
            <a:ext cx="4355753" cy="291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5770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0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sz="1400" dirty="0" smtClean="0">
              <a:solidFill>
                <a:schemeClr val="tx2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Schnellere Lösungsfindung</a:t>
            </a: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Vorteil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Zielgrupp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-Dienstleister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als Benutzer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14416" name="Picture 80" descr="U:\Projektarbeit\Diagramme\Anwendungsfall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2" y="1102487"/>
            <a:ext cx="5544616" cy="360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535085"/>
              </p:ext>
            </p:extLst>
          </p:nvPr>
        </p:nvGraphicFramePr>
        <p:xfrm>
          <a:off x="180231" y="1008435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512</Words>
  <Application>Microsoft Office PowerPoint</Application>
  <PresentationFormat>Benutzerdefiniert</PresentationFormat>
  <Paragraphs>321</Paragraphs>
  <Slides>17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e</vt:lpstr>
      <vt:lpstr>Anwendungsfalldiagramm</vt:lpstr>
      <vt:lpstr>Projektphasen</vt:lpstr>
      <vt:lpstr>Projektkosten</vt:lpstr>
      <vt:lpstr>Kosten IST- Beispiel</vt:lpstr>
      <vt:lpstr>Kosten SOLL - Beispiel</vt:lpstr>
      <vt:lpstr>Amortisation</vt:lpstr>
      <vt:lpstr>Nutzen</vt:lpstr>
      <vt:lpstr>Verwendete Sprachen</vt:lpstr>
      <vt:lpstr>Sicherheit</vt:lpstr>
      <vt:lpstr>Fazit</vt:lpstr>
      <vt:lpstr>Ende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144</cp:revision>
  <cp:lastPrinted>2013-03-21T16:05:01Z</cp:lastPrinted>
  <dcterms:created xsi:type="dcterms:W3CDTF">2017-05-11T08:04:29Z</dcterms:created>
  <dcterms:modified xsi:type="dcterms:W3CDTF">2017-06-26T06:50:05Z</dcterms:modified>
</cp:coreProperties>
</file>